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11" r:id="rId1"/>
    <p:sldMasterId id="2147483925" r:id="rId2"/>
  </p:sldMasterIdLst>
  <p:notesMasterIdLst>
    <p:notesMasterId r:id="rId12"/>
  </p:notesMasterIdLst>
  <p:handoutMasterIdLst>
    <p:handoutMasterId r:id="rId13"/>
  </p:handoutMasterIdLst>
  <p:sldIdLst>
    <p:sldId id="2147471261" r:id="rId3"/>
    <p:sldId id="2147471274" r:id="rId4"/>
    <p:sldId id="2147471275" r:id="rId5"/>
    <p:sldId id="2147471266" r:id="rId6"/>
    <p:sldId id="2147471262" r:id="rId7"/>
    <p:sldId id="2147471273" r:id="rId8"/>
    <p:sldId id="2147471272" r:id="rId9"/>
    <p:sldId id="2147471277" r:id="rId10"/>
    <p:sldId id="2147471268" r:id="rId11"/>
  </p:sldIdLst>
  <p:sldSz cx="12192000" cy="6858000"/>
  <p:notesSz cx="69850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6E584DF8-AD33-40FA-A2F5-DD5133C6B19F}">
          <p14:sldIdLst>
            <p14:sldId id="2147471261"/>
            <p14:sldId id="2147471274"/>
            <p14:sldId id="2147471275"/>
            <p14:sldId id="2147471266"/>
            <p14:sldId id="2147471262"/>
            <p14:sldId id="2147471273"/>
            <p14:sldId id="2147471272"/>
            <p14:sldId id="2147471277"/>
            <p14:sldId id="2147471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" userDrawn="1">
          <p15:clr>
            <a:srgbClr val="A4A3A4"/>
          </p15:clr>
        </p15:guide>
        <p15:guide id="2" orient="horz" pos="3801" userDrawn="1">
          <p15:clr>
            <a:srgbClr val="A4A3A4"/>
          </p15:clr>
        </p15:guide>
        <p15:guide id="3" orient="horz" pos="950" userDrawn="1">
          <p15:clr>
            <a:srgbClr val="A4A3A4"/>
          </p15:clr>
        </p15:guide>
        <p15:guide id="4" pos="7104" userDrawn="1">
          <p15:clr>
            <a:srgbClr val="A4A3A4"/>
          </p15:clr>
        </p15:guide>
        <p15:guide id="5" pos="3916" userDrawn="1">
          <p15:clr>
            <a:srgbClr val="A4A3A4"/>
          </p15:clr>
        </p15:guide>
        <p15:guide id="6" pos="576" userDrawn="1">
          <p15:clr>
            <a:srgbClr val="A4A3A4"/>
          </p15:clr>
        </p15:guide>
        <p15:guide id="7" pos="376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 userDrawn="1">
          <p15:clr>
            <a:srgbClr val="A4A3A4"/>
          </p15:clr>
        </p15:guide>
        <p15:guide id="2" pos="220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skevich, Victoria" initials="MV" lastIdx="4" clrIdx="0">
    <p:extLst>
      <p:ext uri="{19B8F6BF-5375-455C-9EA6-DF929625EA0E}">
        <p15:presenceInfo xmlns:p15="http://schemas.microsoft.com/office/powerpoint/2012/main" userId="S-1-5-21-329068152-854245398-839522115-177147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99"/>
    <a:srgbClr val="F4DB94"/>
    <a:srgbClr val="FFD85B"/>
    <a:srgbClr val="8D1F1B"/>
    <a:srgbClr val="C00000"/>
    <a:srgbClr val="FFFFFF"/>
    <a:srgbClr val="007033"/>
    <a:srgbClr val="5ACFE4"/>
    <a:srgbClr val="9446DA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C5780E6-A8F4-46B0-B82D-9E7F56C639EF}">
  <a:tblStyle styleId="{1C5780E6-A8F4-46B0-B82D-9E7F56C639EF}" styleName="Novartis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646464"/>
              </a:solidFill>
            </a:ln>
          </a:top>
          <a:bottom>
            <a:ln w="6350">
              <a:solidFill>
                <a:srgbClr val="646464"/>
              </a:solidFill>
            </a:ln>
          </a:bottom>
          <a:insideH>
            <a:ln w="6350">
              <a:solidFill>
                <a:srgbClr val="64646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noFill/>
        </a:fill>
      </a:tcStyle>
    </a:band2H>
    <a:band1V>
      <a:tcStyle>
        <a:tcBdr/>
        <a:fill>
          <a:noFill/>
        </a:fill>
      </a:tcStyle>
    </a:band1V>
    <a:band2V>
      <a:tcStyle>
        <a:tcBdr/>
        <a:fill>
          <a:noFill/>
        </a:fill>
      </a:tcStyle>
    </a:band2V>
    <a:lastCol>
      <a:tcTxStyle b="on">
        <a:fontRef idx="minor"/>
        <a:srgbClr val="000000"/>
      </a:tcTxStyle>
      <a:tcStyle>
        <a:tcBdr/>
      </a:tcStyle>
    </a:lastCol>
    <a:firstCol>
      <a:tcTxStyle b="on">
        <a:fontRef idx="minor"/>
        <a:srgbClr val="000000"/>
      </a:tcTxStyle>
      <a:tcStyle>
        <a:tcBdr/>
      </a:tcStyle>
    </a:firstCol>
    <a:lastRow>
      <a:tcTxStyle b="on">
        <a:fontRef idx="min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inor"/>
        <a:srgbClr val="8D1F1B"/>
      </a:tcTxStyle>
      <a:tcStyle>
        <a:tcBdr>
          <a:top>
            <a:ln>
              <a:noFill/>
            </a:ln>
          </a:top>
          <a:bottom>
            <a:ln w="19050">
              <a:solidFill>
                <a:srgbClr val="8D1F1B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howGuides="1">
      <p:cViewPr varScale="1">
        <p:scale>
          <a:sx n="98" d="100"/>
          <a:sy n="98" d="100"/>
        </p:scale>
        <p:origin x="72" y="318"/>
      </p:cViewPr>
      <p:guideLst>
        <p:guide orient="horz" pos="288"/>
        <p:guide orient="horz" pos="3801"/>
        <p:guide orient="horz" pos="950"/>
        <p:guide pos="7104"/>
        <p:guide pos="3916"/>
        <p:guide pos="576"/>
        <p:guide pos="376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456"/>
    </p:cViewPr>
  </p:sorterViewPr>
  <p:notesViewPr>
    <p:cSldViewPr snapToGrid="0"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924"/>
        <p:guide pos="22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61BB60FF-ACF0-5A4A-9C79-4881E6B16567}" type="datetimeFigureOut">
              <a:rPr lang="en-US" smtClean="0">
                <a:latin typeface="Arial"/>
              </a:rPr>
              <a:pPr/>
              <a:t>7/9/2025</a:t>
            </a:fld>
            <a:endParaRPr lang="en-US" dirty="0"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56ABA786-EB35-BA4C-A7F7-24740D3067F1}" type="slidenum">
              <a:rPr lang="en-US" smtClean="0">
                <a:latin typeface="Arial"/>
              </a:rPr>
              <a:pPr/>
              <a:t>‹#›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99472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>
                <a:latin typeface="Arial"/>
              </a:defRPr>
            </a:lvl1pPr>
          </a:lstStyle>
          <a:p>
            <a:fld id="{0C4595FF-6E7F-4C41-B8DF-4AE76FC1F075}" type="datetimeFigureOut">
              <a:rPr lang="en-US" smtClean="0"/>
              <a:pPr/>
              <a:t>7/9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>
                <a:latin typeface="Arial"/>
              </a:defRPr>
            </a:lvl1pPr>
          </a:lstStyle>
          <a:p>
            <a:fld id="{5A6330BE-D91A-D240-B266-E5D5F99B4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3167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3F22F3-5E88-3668-0E2E-6152BC09FD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531A72-0110-9C18-54B1-8819995C0F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787C9-822D-793F-DC53-4BB7888DD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2A12A-47CD-4EC6-94B2-DF953D0690D1}" type="datetimeFigureOut">
              <a:rPr lang="ru-RU" smtClean="0"/>
              <a:t>09.07.2025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D06C5E-B1BF-5725-FE8A-2C90AD6B90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6E3D9E-28D7-FF50-AFBC-7500DC7C9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072198868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E0D362-3CB8-E7B5-6A8D-E4C30DEB93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F0A5D43-FE5B-173C-B83B-9B47D2B4203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A39D66-377E-A2CF-E6F7-A2D19BB4E9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2A12A-47CD-4EC6-94B2-DF953D0690D1}" type="datetimeFigureOut">
              <a:rPr lang="ru-RU" smtClean="0"/>
              <a:t>09.07.2025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C2C25D-6D67-3B55-BECD-C63DC0674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56BF0-D3E7-FF70-1EC0-5A859938CD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201285510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D12A87B-F2EA-CAD9-01B3-40230E28391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0F5095D-EBB2-D152-9C5B-B27B62BE42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241BBE-E2FF-896C-FB64-32EE51D576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2A12A-47CD-4EC6-94B2-DF953D0690D1}" type="datetimeFigureOut">
              <a:rPr lang="ru-RU" smtClean="0"/>
              <a:t>09.07.2025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2BC962-451C-FF38-F253-BAE1EDD146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26F9C1-10D5-E0B4-8F70-99EF73179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80127146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0"/>
            <a:ext cx="2011680" cy="6858000"/>
          </a:xfrm>
          <a:prstGeom prst="rect">
            <a:avLst/>
          </a:prstGeom>
        </p:spPr>
      </p:pic>
      <p:sp>
        <p:nvSpPr>
          <p:cNvPr id="18" name="Picture Placeholder 4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914401" y="457200"/>
            <a:ext cx="10361084" cy="379476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5000"/>
              <a:buFont typeface="Arial" pitchFamily="34" charset="0"/>
              <a:buNone/>
              <a:tabLst>
                <a:tab pos="3998913" algn="r"/>
                <a:tab pos="8229600" algn="r"/>
              </a:tabLst>
              <a:defRPr sz="1200"/>
            </a:lvl1pPr>
          </a:lstStyle>
          <a:p>
            <a:r>
              <a:rPr lang="en-US" dirty="0"/>
              <a:t>Insert picture. Get approved pictures at http://</a:t>
            </a:r>
            <a:r>
              <a:rPr lang="en-US" dirty="0" err="1"/>
              <a:t>www.novartisbrandlab.com</a:t>
            </a:r>
            <a:r>
              <a:rPr lang="en-US" dirty="0"/>
              <a:t>/resources/librar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2621280" y="4389120"/>
            <a:ext cx="8654205" cy="960120"/>
          </a:xfrm>
        </p:spPr>
        <p:txBody>
          <a:bodyPr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2621277" y="5440680"/>
            <a:ext cx="57912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-182880" y="-137160"/>
            <a:ext cx="12557760" cy="7132320"/>
            <a:chOff x="-137160" y="-137160"/>
            <a:chExt cx="9418320" cy="7132320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7425" y="6266014"/>
            <a:ext cx="2194559" cy="300519"/>
          </a:xfrm>
          <a:prstGeom prst="rect">
            <a:avLst/>
          </a:prstGeom>
        </p:spPr>
      </p:pic>
      <p:sp>
        <p:nvSpPr>
          <p:cNvPr id="23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914400"/>
            <a:ext cx="2621280" cy="777240"/>
          </a:xfrm>
          <a:solidFill>
            <a:schemeClr val="accent4"/>
          </a:solidFill>
        </p:spPr>
        <p:txBody>
          <a:bodyPr lIns="274320" tIns="91440" rIns="91440" bIns="91440" anchor="ctr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Novartis Oncology Franchise or Department</a:t>
            </a:r>
          </a:p>
        </p:txBody>
      </p:sp>
    </p:spTree>
    <p:extLst>
      <p:ext uri="{BB962C8B-B14F-4D97-AF65-F5344CB8AC3E}">
        <p14:creationId xmlns:p14="http://schemas.microsoft.com/office/powerpoint/2010/main" val="18087114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508761"/>
            <a:ext cx="5059680" cy="452532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508761"/>
            <a:ext cx="5059680" cy="452532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57200"/>
            <a:ext cx="103632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1469757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217920" y="5623561"/>
            <a:ext cx="505968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508761"/>
            <a:ext cx="5059680" cy="452532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57200"/>
            <a:ext cx="103632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6217920" y="1508761"/>
            <a:ext cx="5059680" cy="4023359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Insert picture. Get approved pictures at http://</a:t>
            </a:r>
            <a:r>
              <a:rPr lang="en-US" dirty="0" err="1"/>
              <a:t>www.novartisbrandlab.com</a:t>
            </a:r>
            <a:r>
              <a:rPr lang="en-US" dirty="0"/>
              <a:t>/resources/library</a:t>
            </a:r>
          </a:p>
        </p:txBody>
      </p:sp>
    </p:spTree>
    <p:extLst>
      <p:ext uri="{BB962C8B-B14F-4D97-AF65-F5344CB8AC3E}">
        <p14:creationId xmlns:p14="http://schemas.microsoft.com/office/powerpoint/2010/main" val="7383428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1508761"/>
            <a:ext cx="10363200" cy="45383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623561"/>
            <a:ext cx="1036320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914400" y="2057400"/>
            <a:ext cx="1036320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Insert picture. Get approved pictures at http://</a:t>
            </a:r>
            <a:r>
              <a:rPr lang="en-US" dirty="0" err="1"/>
              <a:t>www.novartisbrandlab.com</a:t>
            </a:r>
            <a:r>
              <a:rPr lang="en-US" dirty="0"/>
              <a:t>/resources/library</a:t>
            </a:r>
          </a:p>
        </p:txBody>
      </p:sp>
    </p:spTree>
    <p:extLst>
      <p:ext uri="{BB962C8B-B14F-4D97-AF65-F5344CB8AC3E}">
        <p14:creationId xmlns:p14="http://schemas.microsoft.com/office/powerpoint/2010/main" val="26620877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623561"/>
            <a:ext cx="505968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217920" y="5623561"/>
            <a:ext cx="505968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1508761"/>
            <a:ext cx="10363200" cy="45383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914400" y="2057400"/>
            <a:ext cx="505968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Insert picture. Get approved pictures at http://</a:t>
            </a:r>
            <a:r>
              <a:rPr lang="en-US" dirty="0" err="1"/>
              <a:t>www.novartisbrandlab.com</a:t>
            </a:r>
            <a:r>
              <a:rPr lang="en-US" dirty="0"/>
              <a:t>/resources/library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217920" y="2057400"/>
            <a:ext cx="505968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Insert picture. Get approved pictures at http://</a:t>
            </a:r>
            <a:r>
              <a:rPr lang="en-US" dirty="0" err="1"/>
              <a:t>www.novartisbrandlab.com</a:t>
            </a:r>
            <a:r>
              <a:rPr lang="en-US" dirty="0"/>
              <a:t>/resources/library</a:t>
            </a:r>
          </a:p>
        </p:txBody>
      </p:sp>
    </p:spTree>
    <p:extLst>
      <p:ext uri="{BB962C8B-B14F-4D97-AF65-F5344CB8AC3E}">
        <p14:creationId xmlns:p14="http://schemas.microsoft.com/office/powerpoint/2010/main" val="36236452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623561"/>
            <a:ext cx="329184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450080" y="5623561"/>
            <a:ext cx="329184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7985760" y="5623561"/>
            <a:ext cx="329184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1508761"/>
            <a:ext cx="10363200" cy="45383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 hasCustomPrompt="1"/>
          </p:nvPr>
        </p:nvSpPr>
        <p:spPr>
          <a:xfrm>
            <a:off x="914400" y="2057400"/>
            <a:ext cx="329184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Insert picture. Get approved pictures at http://</a:t>
            </a:r>
            <a:r>
              <a:rPr lang="en-US" dirty="0" err="1"/>
              <a:t>www.novartisbrandlab.com</a:t>
            </a:r>
            <a:r>
              <a:rPr lang="en-US" dirty="0"/>
              <a:t>/resources/library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23" hasCustomPrompt="1"/>
          </p:nvPr>
        </p:nvSpPr>
        <p:spPr>
          <a:xfrm>
            <a:off x="4450080" y="2057400"/>
            <a:ext cx="329184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Insert picture. Get approved pictures at http://</a:t>
            </a:r>
            <a:r>
              <a:rPr lang="en-US" dirty="0" err="1"/>
              <a:t>www.novartisbrandlab.com</a:t>
            </a:r>
            <a:r>
              <a:rPr lang="en-US" dirty="0"/>
              <a:t>/resources/library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24" hasCustomPrompt="1"/>
          </p:nvPr>
        </p:nvSpPr>
        <p:spPr>
          <a:xfrm>
            <a:off x="7985760" y="2057400"/>
            <a:ext cx="329184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Insert picture. Get approved pictures at http://</a:t>
            </a:r>
            <a:r>
              <a:rPr lang="en-US" dirty="0" err="1"/>
              <a:t>www.novartisbrandlab.com</a:t>
            </a:r>
            <a:r>
              <a:rPr lang="en-US" dirty="0"/>
              <a:t>/resources/library</a:t>
            </a:r>
          </a:p>
        </p:txBody>
      </p:sp>
    </p:spTree>
    <p:extLst>
      <p:ext uri="{BB962C8B-B14F-4D97-AF65-F5344CB8AC3E}">
        <p14:creationId xmlns:p14="http://schemas.microsoft.com/office/powerpoint/2010/main" val="11934072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508761"/>
            <a:ext cx="5059680" cy="4525328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8D1F1B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8D1F1B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8D1F1B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8D1F1B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8D1F1B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5623561"/>
            <a:ext cx="505968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57200"/>
            <a:ext cx="103632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914400" y="1508761"/>
            <a:ext cx="5059680" cy="4023359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Insert picture. Get approved pictures at http://</a:t>
            </a:r>
            <a:r>
              <a:rPr lang="en-US" dirty="0" err="1"/>
              <a:t>www.novartisbrandlab.com</a:t>
            </a:r>
            <a:r>
              <a:rPr lang="en-US" dirty="0"/>
              <a:t>/resources/library</a:t>
            </a:r>
          </a:p>
        </p:txBody>
      </p:sp>
    </p:spTree>
    <p:extLst>
      <p:ext uri="{BB962C8B-B14F-4D97-AF65-F5344CB8AC3E}">
        <p14:creationId xmlns:p14="http://schemas.microsoft.com/office/powerpoint/2010/main" val="8186260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0"/>
            <a:ext cx="2011680" cy="68580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621280" y="4389120"/>
            <a:ext cx="8654205" cy="960120"/>
          </a:xfrm>
        </p:spPr>
        <p:txBody>
          <a:bodyPr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621280" y="5440680"/>
            <a:ext cx="57912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2011810" y="-137160"/>
            <a:ext cx="9265791" cy="713232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Picture Placeholder 4"/>
          <p:cNvSpPr>
            <a:spLocks noGrp="1"/>
          </p:cNvSpPr>
          <p:nvPr>
            <p:ph type="pic" sz="quarter" idx="13" hasCustomPrompt="1"/>
          </p:nvPr>
        </p:nvSpPr>
        <p:spPr bwMode="hidden">
          <a:xfrm>
            <a:off x="914401" y="455613"/>
            <a:ext cx="10361084" cy="379476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Insert picture. Get approved pictures at http://</a:t>
            </a:r>
            <a:r>
              <a:rPr lang="en-US" dirty="0" err="1"/>
              <a:t>www.novartisbrandlab.com</a:t>
            </a:r>
            <a:r>
              <a:rPr lang="en-US" dirty="0"/>
              <a:t>/resources/library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7425" y="6266014"/>
            <a:ext cx="2194559" cy="30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2151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3B2372-A1DF-0BE7-4334-D93793B2D2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981617-A6D6-8751-2788-746E3532CF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A194D9-7A88-09E4-AB80-B7FC907269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2A12A-47CD-4EC6-94B2-DF953D0690D1}" type="datetimeFigureOut">
              <a:rPr lang="ru-RU" smtClean="0"/>
              <a:t>09.07.2025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C4089B-A757-003D-EC3F-23B07F534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670B5-EF70-28F8-111B-85DB66AFE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3139857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0"/>
            <a:ext cx="2011680" cy="6858000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 userDrawn="1"/>
        </p:nvSpPr>
        <p:spPr>
          <a:xfrm>
            <a:off x="2621279" y="4389120"/>
            <a:ext cx="8656321" cy="9601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5000"/>
              </a:lnSpc>
            </a:pPr>
            <a:r>
              <a:rPr lang="en-US" sz="3600" dirty="0"/>
              <a:t>Thank</a:t>
            </a:r>
            <a:r>
              <a:rPr lang="en-US" sz="3600" baseline="0" dirty="0"/>
              <a:t> you</a:t>
            </a:r>
            <a:endParaRPr lang="en-US" sz="3600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3" hasCustomPrompt="1"/>
          </p:nvPr>
        </p:nvSpPr>
        <p:spPr bwMode="hidden">
          <a:xfrm>
            <a:off x="914401" y="455613"/>
            <a:ext cx="10361084" cy="379476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Insert picture. Get approved pictures at http://</a:t>
            </a:r>
            <a:r>
              <a:rPr lang="en-US" dirty="0" err="1"/>
              <a:t>www.novartisbrandlab.com</a:t>
            </a:r>
            <a:r>
              <a:rPr lang="en-US" dirty="0"/>
              <a:t>/resources/library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2011810" y="-137160"/>
            <a:ext cx="9265791" cy="7132320"/>
            <a:chOff x="1508857" y="-137160"/>
            <a:chExt cx="6949343" cy="7132320"/>
          </a:xfrm>
        </p:grpSpPr>
        <p:cxnSp>
          <p:nvCxnSpPr>
            <p:cNvPr id="14" name="Straight Connector 13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7425" y="6266014"/>
            <a:ext cx="2194559" cy="30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218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" y="0"/>
            <a:ext cx="201168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 userDrawn="1"/>
        </p:nvSpPr>
        <p:spPr>
          <a:xfrm>
            <a:off x="2621279" y="2331720"/>
            <a:ext cx="8656321" cy="228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5000"/>
              </a:lnSpc>
            </a:pPr>
            <a:r>
              <a:rPr lang="en-US" sz="3600" dirty="0"/>
              <a:t>Thank</a:t>
            </a:r>
            <a:r>
              <a:rPr lang="en-US" sz="3600" baseline="0" dirty="0"/>
              <a:t> you</a:t>
            </a:r>
            <a:endParaRPr lang="en-US" sz="3600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2011810" y="-137160"/>
            <a:ext cx="9265791" cy="7132320"/>
            <a:chOff x="1508857" y="-137160"/>
            <a:chExt cx="6949343" cy="7132320"/>
          </a:xfrm>
        </p:grpSpPr>
        <p:cxnSp>
          <p:nvCxnSpPr>
            <p:cNvPr id="19" name="Straight Connector 18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7425" y="6266014"/>
            <a:ext cx="2194559" cy="30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663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6E4775E2-C349-5D46-8B00-EEEC2FC3FD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-182880" y="-182880"/>
            <a:ext cx="12557760" cy="7229856"/>
            <a:chOff x="-137160" y="-137160"/>
            <a:chExt cx="9418320" cy="5422392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918972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-13716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918972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-13716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2133600" y="4145279"/>
            <a:ext cx="9448800" cy="1219200"/>
          </a:xfrm>
        </p:spPr>
        <p:txBody>
          <a:bodyPr anchor="b" anchorCtr="0">
            <a:noAutofit/>
          </a:bodyPr>
          <a:lstStyle>
            <a:lvl1pPr>
              <a:defRPr sz="42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2133600" y="5486400"/>
            <a:ext cx="6705600" cy="975360"/>
          </a:xfr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="1" i="0" baseline="0">
                <a:solidFill>
                  <a:schemeClr val="tx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sp>
        <p:nvSpPr>
          <p:cNvPr id="27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700832" y="421541"/>
            <a:ext cx="10876800" cy="3513600"/>
          </a:xfrm>
          <a:solidFill>
            <a:srgbClr val="CCCCCC"/>
          </a:solidFill>
        </p:spPr>
        <p:txBody>
          <a:bodyPr tIns="1116000" anchor="t" anchorCtr="0">
            <a:normAutofit/>
          </a:bodyPr>
          <a:lstStyle>
            <a:lvl1pPr marL="1439297" marR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5331751" algn="r"/>
                <a:tab pos="10972526" algn="r"/>
              </a:tabLst>
              <a:defRPr lang="en-US" sz="1267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853440"/>
            <a:ext cx="3048000" cy="731520"/>
          </a:xfrm>
          <a:solidFill>
            <a:schemeClr val="accent2"/>
          </a:solidFill>
        </p:spPr>
        <p:txBody>
          <a:bodyPr lIns="182880" tIns="45720" rIns="91440" bIns="45720" anchor="ctr" anchorCtr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5331751" algn="r"/>
                <a:tab pos="10972526" algn="r"/>
              </a:tabLst>
              <a:defRPr sz="1333" b="1" i="0" spc="0" baseline="0">
                <a:solidFill>
                  <a:schemeClr val="bg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>
              <a:spcBef>
                <a:spcPts val="0"/>
              </a:spcBef>
              <a:buFont typeface="Arial"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5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5331751" algn="r"/>
                <a:tab pos="10972526" algn="r"/>
              </a:tabLst>
              <a:defRPr/>
            </a:pPr>
            <a:r>
              <a:rPr lang="en-US" dirty="0">
                <a:solidFill>
                  <a:srgbClr val="FFFFFF"/>
                </a:solidFill>
              </a:rPr>
              <a:t>Business or </a:t>
            </a:r>
            <a:r>
              <a:rPr lang="en-US" dirty="0"/>
              <a:t>Organizational</a:t>
            </a:r>
            <a:r>
              <a:rPr lang="en-US" dirty="0">
                <a:solidFill>
                  <a:srgbClr val="FFFFFF"/>
                </a:solidFill>
              </a:rPr>
              <a:t> Unit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b="0" dirty="0">
                <a:solidFill>
                  <a:srgbClr val="FFFFFF"/>
                </a:solidFill>
              </a:rPr>
              <a:t>Franchise or Department</a:t>
            </a:r>
          </a:p>
        </p:txBody>
      </p:sp>
    </p:spTree>
    <p:extLst>
      <p:ext uri="{BB962C8B-B14F-4D97-AF65-F5344CB8AC3E}">
        <p14:creationId xmlns:p14="http://schemas.microsoft.com/office/powerpoint/2010/main" val="1924952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-182880" y="-182880"/>
            <a:ext cx="12557760" cy="7229856"/>
            <a:chOff x="-137160" y="-137160"/>
            <a:chExt cx="9418320" cy="5422392"/>
          </a:xfrm>
        </p:grpSpPr>
        <p:cxnSp>
          <p:nvCxnSpPr>
            <p:cNvPr id="28" name="Straight Connector 2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18972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-13716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18972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13716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2133600" y="1950721"/>
            <a:ext cx="9448800" cy="2802913"/>
          </a:xfrm>
        </p:spPr>
        <p:txBody>
          <a:bodyPr anchor="b" anchorCtr="0">
            <a:noAutofit/>
          </a:bodyPr>
          <a:lstStyle>
            <a:lvl1pPr>
              <a:defRPr sz="4267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2133600" y="4876800"/>
            <a:ext cx="94488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="1" i="0" baseline="0">
                <a:solidFill>
                  <a:srgbClr val="000000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sp>
        <p:nvSpPr>
          <p:cNvPr id="18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853440"/>
            <a:ext cx="3048000" cy="731520"/>
          </a:xfrm>
          <a:solidFill>
            <a:schemeClr val="accent2"/>
          </a:solidFill>
        </p:spPr>
        <p:txBody>
          <a:bodyPr lIns="182880" tIns="45720" rIns="91440" bIns="45720" anchor="ctr" anchorCtr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5331751" algn="r"/>
                <a:tab pos="10972526" algn="r"/>
              </a:tabLst>
              <a:defRPr sz="1333" b="1" i="0" spc="0" baseline="0">
                <a:solidFill>
                  <a:schemeClr val="bg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>
              <a:spcBef>
                <a:spcPts val="0"/>
              </a:spcBef>
              <a:buFont typeface="Arial"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5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5331751" algn="r"/>
                <a:tab pos="10972526" algn="r"/>
              </a:tabLst>
              <a:defRPr/>
            </a:pPr>
            <a:r>
              <a:rPr lang="en-US" dirty="0">
                <a:solidFill>
                  <a:srgbClr val="FFFFFF"/>
                </a:solidFill>
              </a:rPr>
              <a:t>Business or </a:t>
            </a:r>
            <a:r>
              <a:rPr lang="en-US" dirty="0"/>
              <a:t>Organizational</a:t>
            </a:r>
            <a:r>
              <a:rPr lang="en-US" dirty="0">
                <a:solidFill>
                  <a:srgbClr val="FFFFFF"/>
                </a:solidFill>
              </a:rPr>
              <a:t> Unit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b="0" dirty="0">
                <a:solidFill>
                  <a:srgbClr val="FFFFFF"/>
                </a:solidFill>
              </a:rPr>
              <a:t>Franchise or Departmen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4A5AF66-6AD0-0748-89FA-2E250B7071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1238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5073" indent="-455073">
              <a:buSzPct val="100000"/>
              <a:buFont typeface="+mj-lt"/>
              <a:buAutoNum type="arabicPeriod"/>
              <a:tabLst>
                <a:tab pos="5331751" algn="r"/>
                <a:tab pos="10972526" algn="r"/>
              </a:tabLst>
              <a:defRPr baseline="0"/>
            </a:lvl1pPr>
            <a:lvl2pPr marL="766214" indent="-311143">
              <a:defRPr baseline="0"/>
            </a:lvl2pPr>
            <a:lvl3pPr marL="1068891" indent="-302676">
              <a:defRPr baseline="0"/>
            </a:lvl3pPr>
            <a:lvl4pPr marL="1371566" indent="-302676">
              <a:defRPr baseline="0"/>
            </a:lvl4pPr>
            <a:lvl5pPr marL="1676358" indent="-304792">
              <a:defRPr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056931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04792" indent="-304792">
              <a:buSzPct val="100000"/>
              <a:buFont typeface="Wingdings" charset="2"/>
              <a:buChar char="§"/>
              <a:defRPr spc="0" baseline="0"/>
            </a:lvl1pPr>
            <a:lvl2pPr>
              <a:defRPr spc="0" baseline="0"/>
            </a:lvl2pPr>
            <a:lvl3pPr>
              <a:defRPr spc="0" baseline="0"/>
            </a:lvl3pPr>
            <a:lvl4pPr>
              <a:defRPr spc="0" baseline="0"/>
            </a:lvl4pPr>
            <a:lvl5pPr>
              <a:defRPr spc="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0338455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828800"/>
            <a:ext cx="5361517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28800"/>
            <a:ext cx="536448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5535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828800"/>
            <a:ext cx="347472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8640" y="1828800"/>
            <a:ext cx="347472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25"/>
          </p:nvPr>
        </p:nvSpPr>
        <p:spPr>
          <a:xfrm>
            <a:off x="8107680" y="1828800"/>
            <a:ext cx="347472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48919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828800"/>
            <a:ext cx="536448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6217920" y="1828800"/>
            <a:ext cx="5364480" cy="35966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217920" y="5547360"/>
            <a:ext cx="536448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27547323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828800"/>
            <a:ext cx="10972800" cy="481927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609600" y="2381957"/>
            <a:ext cx="1097280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5547360"/>
            <a:ext cx="1097280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33411914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64D29-8958-0BFE-44E3-8156DFD7F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F0E6A2-1293-8D7B-55B1-44DDECA527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E1CCE4-F210-5143-1BA6-31E5C28DF1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2A12A-47CD-4EC6-94B2-DF953D0690D1}" type="datetimeFigureOut">
              <a:rPr lang="ru-RU" smtClean="0"/>
              <a:t>09.07.2025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6289A8-F1C4-6414-C5A9-B31648312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FDCD19-07F4-540C-45C0-C571903E2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347812219"/>
      </p:ext>
    </p:extLst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609600" y="2381957"/>
            <a:ext cx="536448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217920" y="2381957"/>
            <a:ext cx="536448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828800"/>
            <a:ext cx="10972800" cy="481927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547360"/>
            <a:ext cx="536448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17920" y="5547360"/>
            <a:ext cx="536448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38624339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609600" y="2381957"/>
            <a:ext cx="347472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358640" y="2381957"/>
            <a:ext cx="347472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8107680" y="2381957"/>
            <a:ext cx="347472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828800"/>
            <a:ext cx="10972800" cy="481927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5547360"/>
            <a:ext cx="347472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358640" y="5547360"/>
            <a:ext cx="347472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107680" y="5547360"/>
            <a:ext cx="347472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39888235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28800"/>
            <a:ext cx="5364480" cy="414528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8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609600" y="1828800"/>
            <a:ext cx="5364480" cy="35966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09600" y="5547360"/>
            <a:ext cx="536448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97580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Big Statement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328160" y="1828800"/>
            <a:ext cx="7254240" cy="414528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8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609600" y="1828800"/>
            <a:ext cx="3474720" cy="35966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09600" y="5547360"/>
            <a:ext cx="347472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080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1400835" y="-182880"/>
            <a:ext cx="10181565" cy="7229856"/>
            <a:chOff x="1050626" y="-137160"/>
            <a:chExt cx="7636174" cy="5422392"/>
          </a:xfrm>
        </p:grpSpPr>
        <p:cxnSp>
          <p:nvCxnSpPr>
            <p:cNvPr id="11" name="Straight Connector 10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133600" y="1341119"/>
            <a:ext cx="9448800" cy="4139932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4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306910" indent="-306910">
              <a:spcBef>
                <a:spcPts val="800"/>
              </a:spcBef>
              <a:defRPr b="0" i="0" baseline="0">
                <a:latin typeface="+mn-lt"/>
                <a:ea typeface="Arial" charset="0"/>
                <a:cs typeface="Arial" charset="0"/>
              </a:defRPr>
            </a:lvl2pPr>
            <a:lvl3pPr marL="306910" indent="0">
              <a:spcBef>
                <a:spcPts val="800"/>
              </a:spcBef>
              <a:buNone/>
              <a:defRPr/>
            </a:lvl3pPr>
            <a:lvl4pPr marL="914377" indent="-306910">
              <a:spcBef>
                <a:spcPts val="800"/>
              </a:spcBef>
              <a:defRPr/>
            </a:lvl4pPr>
            <a:lvl5pPr marL="1223403" indent="-309026"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“Quote goes here.”</a:t>
            </a:r>
          </a:p>
          <a:p>
            <a:pPr lvl="1"/>
            <a:r>
              <a:rPr lang="en-US" dirty="0"/>
              <a:t>Attribution, if needed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15E4D8C-596E-D644-8AA7-DBFA149284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2685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/>
          <p:cNvGrpSpPr/>
          <p:nvPr userDrawn="1"/>
        </p:nvGrpSpPr>
        <p:grpSpPr>
          <a:xfrm>
            <a:off x="-182880" y="-182880"/>
            <a:ext cx="12557760" cy="7229856"/>
            <a:chOff x="-137160" y="-137160"/>
            <a:chExt cx="9418320" cy="5422392"/>
          </a:xfrm>
        </p:grpSpPr>
        <p:cxnSp>
          <p:nvCxnSpPr>
            <p:cNvPr id="42" name="Straight Connector 41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918972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-13716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itle 1"/>
          <p:cNvSpPr>
            <a:spLocks noGrp="1"/>
          </p:cNvSpPr>
          <p:nvPr>
            <p:ph type="ctrTitle"/>
          </p:nvPr>
        </p:nvSpPr>
        <p:spPr bwMode="auto">
          <a:xfrm>
            <a:off x="2133600" y="4145280"/>
            <a:ext cx="9448800" cy="1219200"/>
          </a:xfrm>
        </p:spPr>
        <p:txBody>
          <a:bodyPr anchor="b" anchorCtr="0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6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2133600" y="5486400"/>
            <a:ext cx="6705600" cy="97536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="1" i="0" spc="0" baseline="0">
                <a:solidFill>
                  <a:schemeClr val="tx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</a:t>
            </a:r>
            <a:r>
              <a:rPr lang="en-US" dirty="0" err="1"/>
              <a:t>su</a:t>
            </a:r>
            <a:r>
              <a:rPr lang="en-US" dirty="0"/>
              <a:t>   </a:t>
            </a:r>
            <a:r>
              <a:rPr lang="en-US" dirty="0" err="1"/>
              <a:t>btitle</a:t>
            </a:r>
            <a:r>
              <a:rPr lang="en-US" dirty="0"/>
              <a:t> sty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sp>
        <p:nvSpPr>
          <p:cNvPr id="16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700832" y="421541"/>
            <a:ext cx="10876800" cy="3513600"/>
          </a:xfrm>
          <a:solidFill>
            <a:srgbClr val="CCCCCC"/>
          </a:solidFill>
        </p:spPr>
        <p:txBody>
          <a:bodyPr tIns="0" anchor="ctr" anchorCtr="0">
            <a:normAutofit/>
          </a:bodyPr>
          <a:lstStyle>
            <a:lvl1pPr marL="1439297" marR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5331751" algn="r"/>
                <a:tab pos="10972526" algn="r"/>
              </a:tabLst>
              <a:defRPr lang="en-US" sz="1267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EE6C8E6-00B0-984D-96B9-60F58388E2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5949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400835" y="-182880"/>
            <a:ext cx="10181565" cy="7229856"/>
            <a:chOff x="1050626" y="-137160"/>
            <a:chExt cx="7636174" cy="5422392"/>
          </a:xfrm>
        </p:grpSpPr>
        <p:cxnSp>
          <p:nvCxnSpPr>
            <p:cNvPr id="15" name="Straight Connector 14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 bwMode="auto">
          <a:xfrm>
            <a:off x="2133600" y="1950721"/>
            <a:ext cx="9448800" cy="2802913"/>
          </a:xfrm>
        </p:spPr>
        <p:txBody>
          <a:bodyPr anchor="b" anchorCtr="0">
            <a:noAutofit/>
          </a:bodyPr>
          <a:lstStyle>
            <a:lvl1pPr>
              <a:defRPr sz="4267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auto">
          <a:xfrm>
            <a:off x="2133600" y="4876800"/>
            <a:ext cx="94488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="1" i="0" baseline="0">
                <a:solidFill>
                  <a:srgbClr val="000000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3B6A24D-6BB8-474F-8F69-48CC49652D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4551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6078972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9408261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 userDrawn="1"/>
        </p:nvSpPr>
        <p:spPr>
          <a:xfrm>
            <a:off x="2133600" y="4145280"/>
            <a:ext cx="9448800" cy="12199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267" b="1" i="0" spc="-133" dirty="0">
                <a:latin typeface="+mj-lt"/>
                <a:ea typeface="Arial Black" charset="0"/>
                <a:cs typeface="Arial Black" charset="0"/>
              </a:rPr>
              <a:t>Thank</a:t>
            </a:r>
            <a:r>
              <a:rPr lang="en-US" sz="4267" b="1" i="0" spc="-133" baseline="0" dirty="0">
                <a:latin typeface="+mj-lt"/>
                <a:ea typeface="Arial Black" charset="0"/>
                <a:cs typeface="Arial Black" charset="0"/>
              </a:rPr>
              <a:t> you</a:t>
            </a:r>
            <a:endParaRPr lang="en-US" sz="4267" b="1" i="0" spc="-133" dirty="0">
              <a:latin typeface="+mj-lt"/>
              <a:ea typeface="Arial Black" charset="0"/>
              <a:cs typeface="Arial Black" charset="0"/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-182880" y="-182880"/>
            <a:ext cx="12557760" cy="7229856"/>
            <a:chOff x="-137160" y="-137160"/>
            <a:chExt cx="9418320" cy="5422392"/>
          </a:xfrm>
        </p:grpSpPr>
        <p:cxnSp>
          <p:nvCxnSpPr>
            <p:cNvPr id="38" name="Straight Connector 3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918972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-13716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sp>
        <p:nvSpPr>
          <p:cNvPr id="1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700832" y="421541"/>
            <a:ext cx="10876800" cy="3513600"/>
          </a:xfrm>
          <a:solidFill>
            <a:srgbClr val="CCCCCC"/>
          </a:solidFill>
        </p:spPr>
        <p:txBody>
          <a:bodyPr tIns="0" anchor="ctr" anchorCtr="0">
            <a:normAutofit/>
          </a:bodyPr>
          <a:lstStyle>
            <a:lvl1pPr marL="1439297" marR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5331751" algn="r"/>
                <a:tab pos="10972526" algn="r"/>
              </a:tabLst>
              <a:defRPr lang="en-US" sz="1267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933F970-4F3C-A744-9D6D-B0FDBD44815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4807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B3397F-9598-4D27-A379-DBE463242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CA075A-7103-567C-598F-C8044AE61B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553754-C686-7D7B-1B4F-FD75BF19B9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6F67D2-08F2-5972-1CE5-839AD3A20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2A12A-47CD-4EC6-94B2-DF953D0690D1}" type="datetimeFigureOut">
              <a:rPr lang="ru-RU" smtClean="0"/>
              <a:t>09.07.2025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51505F-1554-3CFA-DEBA-43600294C1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429271-2A70-9C49-A57C-27EC6292A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723345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1400835" y="-182880"/>
            <a:ext cx="10181565" cy="7229856"/>
            <a:chOff x="1050626" y="-137160"/>
            <a:chExt cx="7636174" cy="5422392"/>
          </a:xfrm>
        </p:grpSpPr>
        <p:cxnSp>
          <p:nvCxnSpPr>
            <p:cNvPr id="14" name="Straight Connector 13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itle 1"/>
          <p:cNvSpPr txBox="1">
            <a:spLocks/>
          </p:cNvSpPr>
          <p:nvPr userDrawn="1"/>
        </p:nvSpPr>
        <p:spPr>
          <a:xfrm>
            <a:off x="2133600" y="1950720"/>
            <a:ext cx="9448800" cy="2804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267" b="1" i="0" spc="-133" dirty="0">
                <a:latin typeface="+mj-lt"/>
                <a:ea typeface="Arial Black" charset="0"/>
                <a:cs typeface="Arial Black" charset="0"/>
              </a:rPr>
              <a:t>Thank</a:t>
            </a:r>
            <a:r>
              <a:rPr lang="en-US" sz="4267" b="1" i="0" spc="-133" baseline="0" dirty="0">
                <a:latin typeface="+mj-lt"/>
                <a:ea typeface="Arial Black" charset="0"/>
                <a:cs typeface="Arial Black" charset="0"/>
              </a:rPr>
              <a:t> you</a:t>
            </a:r>
            <a:endParaRPr lang="en-US" sz="4267" b="1" i="0" spc="-133" dirty="0">
              <a:latin typeface="+mj-lt"/>
              <a:ea typeface="Arial Black" charset="0"/>
              <a:cs typeface="Arial Black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A1FF81-AC4A-5744-B23B-E24980FE4C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6278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1E3098-E9C8-2DFE-F670-07D15EDC9B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459950-FB92-F01E-7FF6-0DB75F0A7E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143BC8-9CBE-237B-24DE-A8D520A539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D00A20-5B7D-4E95-37E6-DEF809AD515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03DEA86-F1BE-1658-FD17-A9645A7C48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C058C3E-8971-7537-D922-79B9DAE87D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2A12A-47CD-4EC6-94B2-DF953D0690D1}" type="datetimeFigureOut">
              <a:rPr lang="ru-RU" smtClean="0"/>
              <a:t>09.07.2025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559328F-D082-00F4-1E77-B6329E0AB6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BAB0347-F5AD-104A-74DE-ED86E2A233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508598936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14033D-F2D9-EAEB-EE34-9E96D09FA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93721B-B53E-0238-F534-4875710BF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2A12A-47CD-4EC6-94B2-DF953D0690D1}" type="datetimeFigureOut">
              <a:rPr lang="ru-RU" smtClean="0"/>
              <a:t>09.07.2025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BEB374-2595-EED7-F0C6-FA48A4A19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89387F-DE6A-219C-03B3-465734986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97033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D988A99-5AD6-2C71-37A7-BC5F6B4151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2A12A-47CD-4EC6-94B2-DF953D0690D1}" type="datetimeFigureOut">
              <a:rPr lang="ru-RU" smtClean="0"/>
              <a:t>09.07.2025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09F0AD-D1C2-F378-E502-D48E2A95BC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B369E9-9941-6BE5-AF88-C1358EAB6F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2531956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3A7697-50D2-53BE-FB77-5F937F731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29D6E3-49D4-B6D5-C12C-3C1A76E998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2C534E-E16D-98EE-AAE2-1F0C90A6DB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31FE48-CF43-4A3A-0EEB-3D9D2A1F3A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2A12A-47CD-4EC6-94B2-DF953D0690D1}" type="datetimeFigureOut">
              <a:rPr lang="ru-RU" smtClean="0"/>
              <a:t>09.07.2025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F59EC31-8E98-2504-BF74-E361EB31BE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C77E90-51AE-E1C6-6990-360A3AC28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5445793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9ECF7D-27C6-325A-19B7-D6342771B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E41227-3854-0DB7-0B3F-9BA89C5B338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08AA16-19EB-7A46-7E5D-6712AEE348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98745D-81A9-FDA9-CCB7-EE5C44C2B3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2A12A-47CD-4EC6-94B2-DF953D0690D1}" type="datetimeFigureOut">
              <a:rPr lang="ru-RU" smtClean="0"/>
              <a:t>09.07.2025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B6E153-A757-015B-99C1-271F22A96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657DF8-4454-5819-0F31-ADD070A6B0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724379169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8D67E9C-5377-BEB9-8F98-DB35A6A9FB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155BE1-8828-2824-2100-CC057D1D7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FDED19-3981-32C4-40F1-EA7AD6F8D9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942A12A-47CD-4EC6-94B2-DF953D0690D1}" type="datetimeFigureOut">
              <a:rPr lang="ru-RU" smtClean="0"/>
              <a:t>09.07.2025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AE7B6-FBC8-5B2A-71C1-FC6A836936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379D54-7B73-397B-50B0-54D6117D44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D52C56-2B44-63E4-231E-D72C34A6EB88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7425" y="6266014"/>
            <a:ext cx="2194559" cy="300519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D1AB931-3F39-6567-A18B-6D2F2CB38136}"/>
              </a:ext>
            </a:extLst>
          </p:cNvPr>
          <p:cNvSpPr txBox="1">
            <a:spLocks/>
          </p:cNvSpPr>
          <p:nvPr userDrawn="1"/>
        </p:nvSpPr>
        <p:spPr>
          <a:xfrm>
            <a:off x="914400" y="6350635"/>
            <a:ext cx="7924800" cy="228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rgbClr val="0460A9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accent1"/>
                </a:solidFill>
              </a:rPr>
              <a:t>Novartis Oncolog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C967D0E-39AE-C71E-76D0-56C0642D64F4}"/>
              </a:ext>
            </a:extLst>
          </p:cNvPr>
          <p:cNvGrpSpPr/>
          <p:nvPr userDrawn="1"/>
        </p:nvGrpSpPr>
        <p:grpSpPr>
          <a:xfrm>
            <a:off x="-182880" y="-137160"/>
            <a:ext cx="12557760" cy="7132320"/>
            <a:chOff x="-137160" y="-137160"/>
            <a:chExt cx="9418320" cy="713232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2C55515-C545-701A-674C-9103FB6430C8}"/>
                </a:ext>
              </a:extLst>
            </p:cNvPr>
            <p:cNvCxnSpPr/>
            <p:nvPr userDrawn="1"/>
          </p:nvCxnSpPr>
          <p:spPr>
            <a:xfrm flipV="1">
              <a:off x="685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C61BECF7-9A77-9C49-99D4-60B787FCEDAC}"/>
                </a:ext>
              </a:extLst>
            </p:cNvPr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E0DCF6D-2DDD-EF50-2768-3454CAEEA15D}"/>
                </a:ext>
              </a:extLst>
            </p:cNvPr>
            <p:cNvCxnSpPr/>
            <p:nvPr userDrawn="1"/>
          </p:nvCxnSpPr>
          <p:spPr>
            <a:xfrm flipV="1">
              <a:off x="6858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B18EA5C5-3EE6-C8A9-2A32-D735A6DAF421}"/>
                </a:ext>
              </a:extLst>
            </p:cNvPr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063B3B68-8B32-023F-8B9E-04F5B361DFA3}"/>
                </a:ext>
              </a:extLst>
            </p:cNvPr>
            <p:cNvCxnSpPr/>
            <p:nvPr userDrawn="1"/>
          </p:nvCxnSpPr>
          <p:spPr>
            <a:xfrm flipV="1">
              <a:off x="44805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336F50C-11E4-44CA-0986-F9E04ACFFCF9}"/>
                </a:ext>
              </a:extLst>
            </p:cNvPr>
            <p:cNvCxnSpPr/>
            <p:nvPr userDrawn="1"/>
          </p:nvCxnSpPr>
          <p:spPr>
            <a:xfrm flipV="1">
              <a:off x="44805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CC13AA4-B193-B898-AC9F-F8753E751E9B}"/>
                </a:ext>
              </a:extLst>
            </p:cNvPr>
            <p:cNvCxnSpPr/>
            <p:nvPr userDrawn="1"/>
          </p:nvCxnSpPr>
          <p:spPr>
            <a:xfrm flipV="1">
              <a:off x="466344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7B03F8D2-687B-A800-EAC5-E5E06F4DFF30}"/>
                </a:ext>
              </a:extLst>
            </p:cNvPr>
            <p:cNvCxnSpPr/>
            <p:nvPr userDrawn="1"/>
          </p:nvCxnSpPr>
          <p:spPr>
            <a:xfrm flipV="1">
              <a:off x="466344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28F8D65B-FC6F-862D-460E-49DEB6A48568}"/>
                </a:ext>
              </a:extLst>
            </p:cNvPr>
            <p:cNvCxnSpPr/>
            <p:nvPr userDrawn="1"/>
          </p:nvCxnSpPr>
          <p:spPr>
            <a:xfrm>
              <a:off x="9189720" y="15087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03B8C80-3A28-6CB6-4A3D-68A162B9CC25}"/>
                </a:ext>
              </a:extLst>
            </p:cNvPr>
            <p:cNvCxnSpPr/>
            <p:nvPr userDrawn="1"/>
          </p:nvCxnSpPr>
          <p:spPr>
            <a:xfrm>
              <a:off x="9189720" y="60350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372AFDA-1CA6-3F5F-5601-E298D1A0529B}"/>
                </a:ext>
              </a:extLst>
            </p:cNvPr>
            <p:cNvCxnSpPr/>
            <p:nvPr userDrawn="1"/>
          </p:nvCxnSpPr>
          <p:spPr>
            <a:xfrm>
              <a:off x="-137160" y="15087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DF25354-13A0-D87E-62C7-D49641127105}"/>
                </a:ext>
              </a:extLst>
            </p:cNvPr>
            <p:cNvCxnSpPr/>
            <p:nvPr userDrawn="1"/>
          </p:nvCxnSpPr>
          <p:spPr>
            <a:xfrm>
              <a:off x="-137160" y="60350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CC23BDC-9126-ABEB-4DDA-66CB9561FC07}"/>
                </a:ext>
              </a:extLst>
            </p:cNvPr>
            <p:cNvCxnSpPr/>
            <p:nvPr userDrawn="1"/>
          </p:nvCxnSpPr>
          <p:spPr>
            <a:xfrm>
              <a:off x="9189720" y="4572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354DECB-A84E-285A-965D-3711680C9D24}"/>
                </a:ext>
              </a:extLst>
            </p:cNvPr>
            <p:cNvCxnSpPr/>
            <p:nvPr userDrawn="1"/>
          </p:nvCxnSpPr>
          <p:spPr>
            <a:xfrm>
              <a:off x="-137160" y="4572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04006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649" r:id="rId12"/>
    <p:sldLayoutId id="2147483652" r:id="rId13"/>
    <p:sldLayoutId id="2147483667" r:id="rId14"/>
    <p:sldLayoutId id="2147483663" r:id="rId15"/>
    <p:sldLayoutId id="2147483664" r:id="rId16"/>
    <p:sldLayoutId id="2147483665" r:id="rId17"/>
    <p:sldLayoutId id="2147483666" r:id="rId18"/>
    <p:sldLayoutId id="2147483651" r:id="rId19"/>
    <p:sldLayoutId id="2147483669" r:id="rId20"/>
    <p:sldLayoutId id="2147483668" r:id="rId2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118" y="2118"/>
            <a:ext cx="2117" cy="2117"/>
          </a:xfrm>
          <a:prstGeom prst="rect">
            <a:avLst/>
          </a:prstGeom>
        </p:spPr>
      </p:pic>
      <p:sp>
        <p:nvSpPr>
          <p:cNvPr id="9" name="Rectangle 8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BEE3BDE7-CD22-5C47-8AB5-1BB7AA03176B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>
          <a:xfrm>
            <a:off x="-182880" y="-182880"/>
            <a:ext cx="12557760" cy="7229856"/>
            <a:chOff x="-137160" y="-137160"/>
            <a:chExt cx="9418320" cy="5422392"/>
          </a:xfrm>
        </p:grpSpPr>
        <p:cxnSp>
          <p:nvCxnSpPr>
            <p:cNvPr id="12" name="Straight Connector 11"/>
            <p:cNvCxnSpPr/>
            <p:nvPr userDrawn="1"/>
          </p:nvCxnSpPr>
          <p:spPr>
            <a:xfrm flipV="1">
              <a:off x="457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457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44805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V="1">
              <a:off x="448056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V="1">
              <a:off x="466344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466344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9189720" y="1371375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189720" y="44805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-137160" y="1371375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44805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9189720" y="3429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-137160" y="3429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09600" y="457201"/>
            <a:ext cx="10972800" cy="12812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09600" y="1828501"/>
            <a:ext cx="10972800" cy="4140500"/>
          </a:xfrm>
          <a:prstGeom prst="rect">
            <a:avLst/>
          </a:prstGeom>
        </p:spPr>
        <p:txBody>
          <a:bodyPr vert="horz" lIns="0" tIns="0" rIns="0" bIns="0" spcCol="18288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4"/>
          </p:nvPr>
        </p:nvSpPr>
        <p:spPr>
          <a:xfrm>
            <a:off x="612563" y="6375400"/>
            <a:ext cx="304800" cy="304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1200" b="0" i="0" spc="0" baseline="0" smtClean="0">
                <a:solidFill>
                  <a:srgbClr val="7F7F7F"/>
                </a:solidFill>
                <a:latin typeface="+mn-lt"/>
              </a:defRPr>
            </a:lvl1pPr>
          </a:lstStyle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53597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  <p:sldLayoutId id="2147483942" r:id="rId17"/>
    <p:sldLayoutId id="2147483943" r:id="rId18"/>
    <p:sldLayoutId id="2147483944" r:id="rId19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267" b="1" i="0" kern="1200" spc="-133" baseline="0">
          <a:solidFill>
            <a:schemeClr val="tx1"/>
          </a:solidFill>
          <a:latin typeface="+mj-lt"/>
          <a:ea typeface="Arial Black" charset="0"/>
          <a:cs typeface="Arial Black" charset="0"/>
        </a:defRPr>
      </a:lvl1pPr>
    </p:titleStyle>
    <p:bodyStyle>
      <a:lvl1pPr marL="304792" indent="-304792" algn="l" defTabSz="1219170" rtl="0" eaLnBrk="1" latinLnBrk="0" hangingPunct="1">
        <a:spcBef>
          <a:spcPts val="1200"/>
        </a:spcBef>
        <a:buClrTx/>
        <a:buSzPct val="100000"/>
        <a:buFont typeface="Wingdings" charset="2"/>
        <a:buChar char="§"/>
        <a:tabLst>
          <a:tab pos="5331751" algn="r"/>
          <a:tab pos="10972526" algn="r"/>
        </a:tabLst>
        <a:defRPr sz="24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609585" indent="-304792" algn="l" defTabSz="1219170" rtl="0" eaLnBrk="1" latinLnBrk="0" hangingPunct="1">
        <a:spcBef>
          <a:spcPts val="400"/>
        </a:spcBef>
        <a:buClrTx/>
        <a:buSzPct val="100000"/>
        <a:buFont typeface="Arial" pitchFamily="34" charset="0"/>
        <a:buChar char="–"/>
        <a:defRPr sz="2133" b="0" i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914377" indent="-304792" algn="l" defTabSz="1219170" rtl="0" eaLnBrk="1" latinLnBrk="0" hangingPunct="1">
        <a:spcBef>
          <a:spcPts val="400"/>
        </a:spcBef>
        <a:buClrTx/>
        <a:buSzPct val="100000"/>
        <a:buFont typeface="Arial" pitchFamily="34" charset="0"/>
        <a:buChar char="–"/>
        <a:defRPr sz="2133" b="0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219170" indent="-304792" algn="l" defTabSz="1219170" rtl="0" eaLnBrk="1" latinLnBrk="0" hangingPunct="1">
        <a:spcBef>
          <a:spcPts val="400"/>
        </a:spcBef>
        <a:buClrTx/>
        <a:buSzPct val="100000"/>
        <a:buFont typeface="Arial" pitchFamily="34" charset="0"/>
        <a:buChar char="–"/>
        <a:defRPr sz="2133" b="0" i="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523962" indent="-304792" algn="l" defTabSz="1219170" rtl="0" eaLnBrk="1" latinLnBrk="0" hangingPunct="1">
        <a:spcBef>
          <a:spcPts val="400"/>
        </a:spcBef>
        <a:buClrTx/>
        <a:buSzPct val="100000"/>
        <a:buFont typeface="Arial" pitchFamily="34" charset="0"/>
        <a:buChar char="–"/>
        <a:defRPr sz="2133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>
            <a:extLst>
              <a:ext uri="{FF2B5EF4-FFF2-40B4-BE49-F238E27FC236}">
                <a16:creationId xmlns:a16="http://schemas.microsoft.com/office/drawing/2014/main" id="{569D7CB8-EE59-4A98-BC85-DBDB262A21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3192" y="-2927"/>
            <a:ext cx="3470730" cy="1734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1380" name="Picture 5" descr="https://ptzgovorit.ru/sites/default/files/%20%D0%9F%D0%B5%D1%82%D1%80%D0%93%D0%A3.jpg">
            <a:extLst>
              <a:ext uri="{FF2B5EF4-FFF2-40B4-BE49-F238E27FC236}">
                <a16:creationId xmlns:a16="http://schemas.microsoft.com/office/drawing/2014/main" id="{31C74B85-81C3-4EA4-8CD0-30F6685400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231923" cy="1630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1381" name="Picture 7" descr="http://media-urist.ru/wp-content/uploads/2016/03/Petrgu.jpg">
            <a:extLst>
              <a:ext uri="{FF2B5EF4-FFF2-40B4-BE49-F238E27FC236}">
                <a16:creationId xmlns:a16="http://schemas.microsoft.com/office/drawing/2014/main" id="{1373AE7B-EB2B-4D05-8FC4-10914CAC1E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1706" y="1"/>
            <a:ext cx="1611942" cy="1630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1382" name="Picture 9" descr="https://lh3.googleusercontent.com/p/AF1QipMAqGqTwX4dVFdZ8dAJIpR6T8LqakTI_wTvS_SW=w600-k">
            <a:extLst>
              <a:ext uri="{FF2B5EF4-FFF2-40B4-BE49-F238E27FC236}">
                <a16:creationId xmlns:a16="http://schemas.microsoft.com/office/drawing/2014/main" id="{F70ACAA4-C4CA-473D-92FF-7764D0CD40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2063" y="1080"/>
            <a:ext cx="2609647" cy="1730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A9598560-BA6F-F954-339B-820063BD12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2386" y="49139"/>
            <a:ext cx="1630133" cy="1630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4">
            <a:extLst>
              <a:ext uri="{FF2B5EF4-FFF2-40B4-BE49-F238E27FC236}">
                <a16:creationId xmlns:a16="http://schemas.microsoft.com/office/drawing/2014/main" id="{19F24569-6E19-5D4A-AED5-36E68BF71ADF}"/>
              </a:ext>
            </a:extLst>
          </p:cNvPr>
          <p:cNvSpPr txBox="1">
            <a:spLocks/>
          </p:cNvSpPr>
          <p:nvPr/>
        </p:nvSpPr>
        <p:spPr>
          <a:xfrm>
            <a:off x="479595" y="2770775"/>
            <a:ext cx="11649128" cy="60627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400" b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8CDC8A81-E381-A54C-AED3-AE485E6AF52D}"/>
              </a:ext>
            </a:extLst>
          </p:cNvPr>
          <p:cNvSpPr txBox="1">
            <a:spLocks/>
          </p:cNvSpPr>
          <p:nvPr/>
        </p:nvSpPr>
        <p:spPr>
          <a:xfrm>
            <a:off x="1146496" y="5733256"/>
            <a:ext cx="9899008" cy="5967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8">
              <a:lnSpc>
                <a:spcPct val="80000"/>
              </a:lnSpc>
            </a:pPr>
            <a:endParaRPr lang="ru-RU" altLang="ru-RU" sz="1400" b="1" dirty="0">
              <a:solidFill>
                <a:srgbClr val="1E2C40"/>
              </a:solidFill>
              <a:cs typeface="Arial" panose="020B0604020202020204" pitchFamily="34" charset="0"/>
            </a:endParaRPr>
          </a:p>
          <a:p>
            <a:pPr indent="270510">
              <a:lnSpc>
                <a:spcPct val="100000"/>
              </a:lnSpc>
              <a:spcBef>
                <a:spcPts val="0"/>
              </a:spcBef>
            </a:pPr>
            <a:r>
              <a:rPr lang="ru-RU" sz="1400" b="1" dirty="0"/>
              <a:t> </a:t>
            </a:r>
          </a:p>
          <a:p>
            <a:pPr indent="270510">
              <a:lnSpc>
                <a:spcPct val="100000"/>
              </a:lnSpc>
              <a:spcBef>
                <a:spcPts val="0"/>
              </a:spcBef>
            </a:pPr>
            <a:r>
              <a:rPr lang="ru-RU" sz="1400" b="1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</a:rPr>
              <a:t>10 июля 2025 г.</a:t>
            </a:r>
          </a:p>
          <a:p>
            <a:pPr indent="270510">
              <a:lnSpc>
                <a:spcPct val="100000"/>
              </a:lnSpc>
              <a:spcBef>
                <a:spcPts val="0"/>
              </a:spcBef>
            </a:pPr>
            <a:r>
              <a:rPr lang="ru-RU" sz="1400" b="1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</a:rPr>
              <a:t>Петрозаводск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1014A4-C3E4-CB42-9877-3FD9A6714BCE}"/>
              </a:ext>
            </a:extLst>
          </p:cNvPr>
          <p:cNvSpPr txBox="1"/>
          <p:nvPr/>
        </p:nvSpPr>
        <p:spPr>
          <a:xfrm>
            <a:off x="510686" y="4416487"/>
            <a:ext cx="11417444" cy="12208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eaLnBrk="1" hangingPunct="1">
              <a:spcBef>
                <a:spcPts val="77"/>
              </a:spcBef>
              <a:buNone/>
              <a:defRPr/>
            </a:pPr>
            <a:r>
              <a:rPr lang="ru-RU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Барышева Ольга Юрьевна</a:t>
            </a:r>
          </a:p>
          <a:p>
            <a:pPr marL="0" indent="0" algn="ctr">
              <a:spcBef>
                <a:spcPts val="77"/>
              </a:spcBef>
              <a:buNone/>
              <a:defRPr/>
            </a:pPr>
            <a:r>
              <a:rPr lang="ru-RU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д</a:t>
            </a:r>
            <a:r>
              <a:rPr lang="en-US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.</a:t>
            </a:r>
            <a:r>
              <a:rPr lang="ru-RU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м</a:t>
            </a:r>
            <a:r>
              <a:rPr lang="en-US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.</a:t>
            </a:r>
            <a:r>
              <a:rPr lang="ru-RU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н</a:t>
            </a:r>
            <a:r>
              <a:rPr lang="en-US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.,</a:t>
            </a:r>
            <a:r>
              <a:rPr lang="ru-RU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 профессор кафедры госпитальной терапии им. И.М. Менделеева Медицинского института им. А.П. Зильбера </a:t>
            </a:r>
          </a:p>
          <a:p>
            <a:pPr marL="0" indent="0" algn="ctr">
              <a:spcBef>
                <a:spcPts val="77"/>
              </a:spcBef>
              <a:buNone/>
              <a:defRPr/>
            </a:pPr>
            <a:r>
              <a:rPr lang="ru-RU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ФГБОУ ВО «Петрозаводский государственный университет»,</a:t>
            </a:r>
          </a:p>
          <a:p>
            <a:pPr marL="0" indent="0" algn="ctr">
              <a:spcBef>
                <a:spcPts val="77"/>
              </a:spcBef>
              <a:buNone/>
              <a:defRPr/>
            </a:pPr>
            <a:r>
              <a:rPr lang="en-US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з</a:t>
            </a:r>
            <a:r>
              <a:rPr lang="ru-RU" sz="1400" b="1" dirty="0" err="1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ав</a:t>
            </a:r>
            <a:r>
              <a:rPr lang="ru-RU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.</a:t>
            </a:r>
            <a:r>
              <a:rPr lang="en-US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нефрологическим отделением ГБУЗ РК «Республиканская больница им.</a:t>
            </a:r>
            <a:r>
              <a:rPr lang="en-US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В.А</a:t>
            </a:r>
            <a:r>
              <a:rPr lang="en-US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.</a:t>
            </a:r>
            <a:r>
              <a:rPr lang="ru-RU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Баранова»,</a:t>
            </a:r>
          </a:p>
          <a:p>
            <a:pPr marL="0" indent="0" algn="ctr">
              <a:spcBef>
                <a:spcPts val="77"/>
              </a:spcBef>
              <a:buNone/>
              <a:defRPr/>
            </a:pPr>
            <a:r>
              <a:rPr lang="en-US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главный внештатный гастроэнтеролог,</a:t>
            </a:r>
            <a:r>
              <a:rPr lang="en-US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 н</a:t>
            </a:r>
            <a:r>
              <a:rPr lang="ru-RU" sz="1400" b="1" dirty="0" err="1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ефролог</a:t>
            </a:r>
            <a:r>
              <a:rPr lang="ru-RU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 МЗРК</a:t>
            </a:r>
            <a:r>
              <a:rPr lang="en-US" sz="1400" b="1" dirty="0">
                <a:solidFill>
                  <a:schemeClr val="tx1"/>
                </a:solidFill>
                <a:ea typeface="+mj-ea"/>
                <a:cs typeface="Arial" panose="020B0604020202020204" pitchFamily="34" charset="0"/>
              </a:rPr>
              <a:t> </a:t>
            </a:r>
            <a:endParaRPr lang="ru-RU" sz="1400" b="1" dirty="0">
              <a:solidFill>
                <a:schemeClr val="tx1"/>
              </a:solidFill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92083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5E3D15F-AE74-DFEF-FB78-3BA69DE21B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usiness Use Only</a:t>
            </a:r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EFB8071-815C-9CFE-12FB-B57221889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2</a:t>
            </a:fld>
            <a:endParaRPr lang="uk-UA" dirty="0"/>
          </a:p>
        </p:txBody>
      </p:sp>
      <p:pic>
        <p:nvPicPr>
          <p:cNvPr id="1026" name="Picture 2" descr="Picture background">
            <a:extLst>
              <a:ext uri="{FF2B5EF4-FFF2-40B4-BE49-F238E27FC236}">
                <a16:creationId xmlns:a16="http://schemas.microsoft.com/office/drawing/2014/main" id="{571C59D1-9BC4-8C71-9DF9-3F09BBC4B6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50"/>
          <a:stretch>
            <a:fillRect/>
          </a:stretch>
        </p:blipFill>
        <p:spPr bwMode="auto">
          <a:xfrm>
            <a:off x="694906" y="0"/>
            <a:ext cx="1080218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5874720-C203-4E48-463B-9145F7D398F3}"/>
              </a:ext>
            </a:extLst>
          </p:cNvPr>
          <p:cNvSpPr/>
          <p:nvPr/>
        </p:nvSpPr>
        <p:spPr>
          <a:xfrm>
            <a:off x="10560496" y="6237312"/>
            <a:ext cx="432048" cy="484163"/>
          </a:xfrm>
          <a:prstGeom prst="rect">
            <a:avLst/>
          </a:prstGeom>
          <a:solidFill>
            <a:srgbClr val="FFCC9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69394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45F86E0-4EB9-FD2A-70CA-D1A388A151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68696" y="1351499"/>
            <a:ext cx="12650828" cy="3301637"/>
          </a:xfrm>
          <a:prstGeom prst="rect">
            <a:avLst/>
          </a:prstGeom>
        </p:spPr>
      </p:pic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B7E30EEB-ACA6-C7DE-4003-76B7E7DC517B}"/>
              </a:ext>
            </a:extLst>
          </p:cNvPr>
          <p:cNvCxnSpPr/>
          <p:nvPr/>
        </p:nvCxnSpPr>
        <p:spPr>
          <a:xfrm>
            <a:off x="10200456" y="3284984"/>
            <a:ext cx="1728192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1C607FC5-26DC-DB0D-FB1D-4EF81118404A}"/>
              </a:ext>
            </a:extLst>
          </p:cNvPr>
          <p:cNvCxnSpPr/>
          <p:nvPr/>
        </p:nvCxnSpPr>
        <p:spPr>
          <a:xfrm>
            <a:off x="695400" y="3717032"/>
            <a:ext cx="43924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36902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562AC2C-91CA-F1BD-C175-20FA4C62E7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4</a:t>
            </a:fld>
            <a:endParaRPr lang="uk-UA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2F24FF3-CE19-3401-0A86-8EA7A10223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-747464"/>
            <a:ext cx="11856640" cy="8391763"/>
          </a:xfrm>
          <a:prstGeom prst="rect">
            <a:avLst/>
          </a:prstGeom>
        </p:spPr>
      </p:pic>
      <p:sp>
        <p:nvSpPr>
          <p:cNvPr id="2" name="Стрелка: вправо 1">
            <a:extLst>
              <a:ext uri="{FF2B5EF4-FFF2-40B4-BE49-F238E27FC236}">
                <a16:creationId xmlns:a16="http://schemas.microsoft.com/office/drawing/2014/main" id="{BE61B032-B4FC-1581-6901-F0F32EFF63E9}"/>
              </a:ext>
            </a:extLst>
          </p:cNvPr>
          <p:cNvSpPr/>
          <p:nvPr/>
        </p:nvSpPr>
        <p:spPr>
          <a:xfrm>
            <a:off x="5447928" y="1844824"/>
            <a:ext cx="978408" cy="288032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61902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A80E94D-B0FF-93B1-EB3A-843C0AF1B3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5</a:t>
            </a:fld>
            <a:endParaRPr lang="uk-UA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F02576A-1B48-F691-B91D-66A12CDF02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2139" y="60508"/>
            <a:ext cx="9159861" cy="882281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0DD19DA-20F6-4707-AA79-19E80CAD5C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352" y="358775"/>
            <a:ext cx="2914650" cy="63627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A0AC22A-9C05-F889-DBF0-D6771C0C9B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63796" y="1039756"/>
            <a:ext cx="5108667" cy="4678966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8C4EC84-AC5A-3F7B-1281-A197F8E055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1219" y="5805265"/>
            <a:ext cx="5213253" cy="38262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E7CDD81-9D2B-7B53-F0B6-955F24AEC54B}"/>
              </a:ext>
            </a:extLst>
          </p:cNvPr>
          <p:cNvSpPr txBox="1"/>
          <p:nvPr/>
        </p:nvSpPr>
        <p:spPr>
          <a:xfrm>
            <a:off x="8978709" y="485445"/>
            <a:ext cx="30243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Цирроз печени</a:t>
            </a:r>
          </a:p>
        </p:txBody>
      </p:sp>
    </p:spTree>
    <p:extLst>
      <p:ext uri="{BB962C8B-B14F-4D97-AF65-F5344CB8AC3E}">
        <p14:creationId xmlns:p14="http://schemas.microsoft.com/office/powerpoint/2010/main" val="36066617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72DDC41-6841-1C97-5CAC-9FC478F96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87213"/>
            <a:ext cx="10515600" cy="1325563"/>
          </a:xfrm>
        </p:spPr>
        <p:txBody>
          <a:bodyPr/>
          <a:lstStyle/>
          <a:p>
            <a:pPr algn="ctr"/>
            <a:r>
              <a:rPr lang="ru-RU" dirty="0"/>
              <a:t>Лечение цирроза печени – </a:t>
            </a:r>
            <a:br>
              <a:rPr lang="ru-RU" dirty="0"/>
            </a:br>
            <a:r>
              <a:rPr lang="ru-RU" dirty="0"/>
              <a:t>возможности ограничены!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C68E96D-94C8-EE8F-AC6E-C9DA67E227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5814" y="2060848"/>
            <a:ext cx="10515600" cy="4351338"/>
          </a:xfrm>
        </p:spPr>
        <p:txBody>
          <a:bodyPr>
            <a:noAutofit/>
          </a:bodyPr>
          <a:lstStyle/>
          <a:p>
            <a:pPr>
              <a:buAutoNum type="arabicPeriod"/>
            </a:pPr>
            <a:r>
              <a:rPr lang="ru-RU" sz="2000" b="1" u="sng" dirty="0">
                <a:solidFill>
                  <a:srgbClr val="FF0000"/>
                </a:solidFill>
              </a:rPr>
              <a:t>Абстиненция</a:t>
            </a:r>
          </a:p>
          <a:p>
            <a:pPr>
              <a:buAutoNum type="arabicPeriod"/>
            </a:pPr>
            <a:r>
              <a:rPr lang="ru-RU" sz="2000" b="1" dirty="0"/>
              <a:t>Медикаментозная терапия</a:t>
            </a:r>
          </a:p>
          <a:p>
            <a:r>
              <a:rPr lang="ru-RU" sz="2000" b="1" dirty="0"/>
              <a:t>Диуретики</a:t>
            </a:r>
            <a:r>
              <a:rPr lang="en-US" sz="2000" b="1" dirty="0"/>
              <a:t>:</a:t>
            </a:r>
            <a:r>
              <a:rPr lang="ru-RU" sz="2000" b="1" dirty="0"/>
              <a:t> спиронолактон, фуросемид/</a:t>
            </a:r>
            <a:r>
              <a:rPr lang="ru-RU" sz="2000" b="1" dirty="0" err="1"/>
              <a:t>торасемид</a:t>
            </a:r>
            <a:r>
              <a:rPr lang="ru-RU" sz="2000" b="1" dirty="0"/>
              <a:t> </a:t>
            </a:r>
          </a:p>
          <a:p>
            <a:r>
              <a:rPr lang="ru-RU" sz="2000" b="1" dirty="0"/>
              <a:t>Бета-адреноблокаторы</a:t>
            </a:r>
            <a:r>
              <a:rPr lang="en-US" sz="2000" b="1" dirty="0"/>
              <a:t>:</a:t>
            </a:r>
            <a:r>
              <a:rPr lang="ru-RU" sz="2000" b="1" dirty="0"/>
              <a:t>  пропранолол или </a:t>
            </a:r>
            <a:r>
              <a:rPr lang="ru-RU" sz="2000" b="1" dirty="0" err="1"/>
              <a:t>карведилол</a:t>
            </a:r>
            <a:r>
              <a:rPr lang="ru-RU" sz="2000" b="1" dirty="0"/>
              <a:t> </a:t>
            </a:r>
          </a:p>
          <a:p>
            <a:r>
              <a:rPr lang="ru-RU" sz="2000" b="1" dirty="0"/>
              <a:t>Лактулоза </a:t>
            </a:r>
          </a:p>
          <a:p>
            <a:r>
              <a:rPr lang="ru-RU" sz="2000" b="1" dirty="0" err="1"/>
              <a:t>Рифаксимин</a:t>
            </a:r>
            <a:endParaRPr lang="ru-RU" sz="2000" b="1" dirty="0"/>
          </a:p>
          <a:p>
            <a:r>
              <a:rPr lang="ru-RU" sz="2000" b="1" dirty="0"/>
              <a:t>L-орнитин L-</a:t>
            </a:r>
            <a:r>
              <a:rPr lang="ru-RU" sz="2000" b="1" dirty="0" err="1"/>
              <a:t>аспартат</a:t>
            </a:r>
            <a:endParaRPr lang="ru-RU" sz="2000" b="1" dirty="0"/>
          </a:p>
          <a:p>
            <a:r>
              <a:rPr lang="ru-RU" sz="2000" b="1" dirty="0" err="1"/>
              <a:t>Урсодезоксихолевая</a:t>
            </a:r>
            <a:r>
              <a:rPr lang="ru-RU" sz="2000" b="1" dirty="0"/>
              <a:t> кислота </a:t>
            </a:r>
          </a:p>
          <a:p>
            <a:r>
              <a:rPr lang="ru-RU" sz="2000" b="1" dirty="0" err="1"/>
              <a:t>Адеметионин</a:t>
            </a:r>
            <a:endParaRPr lang="ru-RU" sz="20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822379B-2513-C4C2-94CD-5712E1A797BD}"/>
              </a:ext>
            </a:extLst>
          </p:cNvPr>
          <p:cNvSpPr txBox="1"/>
          <p:nvPr/>
        </p:nvSpPr>
        <p:spPr>
          <a:xfrm>
            <a:off x="7104112" y="6278462"/>
            <a:ext cx="688646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/>
              <a:t>ПЕРВИЧНАЯ МЕДИКО-САНИТАРНАЯ ПОМОЩЬ 2025;2(1) / </a:t>
            </a:r>
          </a:p>
          <a:p>
            <a:r>
              <a:rPr lang="ru-RU" sz="1400" dirty="0" err="1"/>
              <a:t>Guidelines</a:t>
            </a:r>
            <a:r>
              <a:rPr lang="ru-RU" sz="1400" dirty="0"/>
              <a:t> </a:t>
            </a:r>
            <a:r>
              <a:rPr lang="ru-RU" sz="1400" dirty="0" err="1"/>
              <a:t>doi</a:t>
            </a:r>
            <a:r>
              <a:rPr lang="ru-RU" sz="1400" dirty="0"/>
              <a:t>: 10.15829/3034-4123-2025-33 </a:t>
            </a:r>
          </a:p>
        </p:txBody>
      </p:sp>
    </p:spTree>
    <p:extLst>
      <p:ext uri="{BB962C8B-B14F-4D97-AF65-F5344CB8AC3E}">
        <p14:creationId xmlns:p14="http://schemas.microsoft.com/office/powerpoint/2010/main" val="21170850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F06DEB7-C20A-9614-54AA-E81E6F21D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7</a:t>
            </a:fld>
            <a:endParaRPr lang="uk-UA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ACF5209-C22C-F5C3-6AD4-44F398A043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9856" y="291436"/>
            <a:ext cx="6913873" cy="6247476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7FCBA2A-EF0B-C006-7750-3BD88FA308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1" y="0"/>
            <a:ext cx="4722097" cy="6722842"/>
          </a:xfrm>
          <a:prstGeom prst="rect">
            <a:avLst/>
          </a:prstGeom>
        </p:spPr>
      </p:pic>
      <p:sp>
        <p:nvSpPr>
          <p:cNvPr id="4" name="Стрелка: вправо 3">
            <a:extLst>
              <a:ext uri="{FF2B5EF4-FFF2-40B4-BE49-F238E27FC236}">
                <a16:creationId xmlns:a16="http://schemas.microsoft.com/office/drawing/2014/main" id="{46F57B60-A316-0B1D-C068-D02C4BCF9168}"/>
              </a:ext>
            </a:extLst>
          </p:cNvPr>
          <p:cNvSpPr/>
          <p:nvPr/>
        </p:nvSpPr>
        <p:spPr>
          <a:xfrm>
            <a:off x="3575720" y="5301208"/>
            <a:ext cx="978408" cy="484632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80942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60200AE-1F6B-5A28-9D55-AC8D4CDC6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8</a:t>
            </a:fld>
            <a:endParaRPr lang="uk-UA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9686114-C8C5-7540-9E0A-248B07A449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6850" y="0"/>
            <a:ext cx="9258300" cy="570547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63DB494-B0C9-D723-28FB-58886128FE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480" y="5697306"/>
            <a:ext cx="9361040" cy="60905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677F6F5-3FE8-B270-9113-0D5BD1324453}"/>
              </a:ext>
            </a:extLst>
          </p:cNvPr>
          <p:cNvSpPr txBox="1"/>
          <p:nvPr/>
        </p:nvSpPr>
        <p:spPr>
          <a:xfrm>
            <a:off x="10848528" y="260648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2025 год</a:t>
            </a:r>
          </a:p>
        </p:txBody>
      </p:sp>
    </p:spTree>
    <p:extLst>
      <p:ext uri="{BB962C8B-B14F-4D97-AF65-F5344CB8AC3E}">
        <p14:creationId xmlns:p14="http://schemas.microsoft.com/office/powerpoint/2010/main" val="23028803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B379AD4-7D89-0E5C-AD63-1C183B8A3A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5600" y="332656"/>
            <a:ext cx="10972800" cy="1281225"/>
          </a:xfrm>
        </p:spPr>
        <p:txBody>
          <a:bodyPr/>
          <a:lstStyle/>
          <a:p>
            <a:r>
              <a:rPr lang="ru-RU" dirty="0"/>
              <a:t>Благодарю за внимание!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186D0BB-B7C7-AFC2-4E7F-EC72C34BF6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9</a:t>
            </a:fld>
            <a:endParaRPr lang="uk-UA" dirty="0"/>
          </a:p>
        </p:txBody>
      </p:sp>
      <p:pic>
        <p:nvPicPr>
          <p:cNvPr id="1026" name="Picture 2" descr="Picture background">
            <a:extLst>
              <a:ext uri="{FF2B5EF4-FFF2-40B4-BE49-F238E27FC236}">
                <a16:creationId xmlns:a16="http://schemas.microsoft.com/office/drawing/2014/main" id="{61284F76-717E-E6D5-9C3C-B1C309CEA6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488" y="1392823"/>
            <a:ext cx="8868179" cy="4982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77921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nQ1MfA.I8e466pSSKZm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Novartis 2016">
  <a:themeElements>
    <a:clrScheme name="Custom 6">
      <a:dk1>
        <a:srgbClr val="000000"/>
      </a:dk1>
      <a:lt1>
        <a:srgbClr val="FFFFFF"/>
      </a:lt1>
      <a:dk2>
        <a:srgbClr val="9D9D9C"/>
      </a:dk2>
      <a:lt2>
        <a:srgbClr val="C6C6C6"/>
      </a:lt2>
      <a:accent1>
        <a:srgbClr val="023761"/>
      </a:accent1>
      <a:accent2>
        <a:srgbClr val="0460A9"/>
      </a:accent2>
      <a:accent3>
        <a:srgbClr val="5191DD"/>
      </a:accent3>
      <a:accent4>
        <a:srgbClr val="9ABFDC"/>
      </a:accent4>
      <a:accent5>
        <a:srgbClr val="C6C6C6"/>
      </a:accent5>
      <a:accent6>
        <a:srgbClr val="9D9D9C"/>
      </a:accent6>
      <a:hlink>
        <a:srgbClr val="000000"/>
      </a:hlink>
      <a:folHlink>
        <a:srgbClr val="9D9D9C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Novartis 2016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2" id="{C19B7BDB-81E6-4748-828F-5C5B12C9BF0B}" vid="{D724004F-CA97-47E7-9722-BAB7CE15913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1DFADE9-313B-4617-B2BD-1D8B9839D2B9}">
  <we:reference id="wa200005566" version="3.0.0.2" store="ru-RU" storeType="OMEX"/>
  <we:alternateReferences>
    <we:reference id="wa200005566" version="3.0.0.2" store="wa200005566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Novartis_Oncology Standard Carmine Philadelphia Chromosome</Template>
  <TotalTime>2366</TotalTime>
  <Words>126</Words>
  <Application>Microsoft Office PowerPoint</Application>
  <PresentationFormat>Широкоэкранный</PresentationFormat>
  <Paragraphs>31</Paragraphs>
  <Slides>9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16" baseType="lpstr">
      <vt:lpstr>Aptos</vt:lpstr>
      <vt:lpstr>Aptos Display</vt:lpstr>
      <vt:lpstr>Arial</vt:lpstr>
      <vt:lpstr>Arial Black</vt:lpstr>
      <vt:lpstr>Wingdings</vt:lpstr>
      <vt:lpstr>Office Theme</vt:lpstr>
      <vt:lpstr>Novartis 2016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Лечение цирроза печени –  возможности ограничены!</vt:lpstr>
      <vt:lpstr>Презентация PowerPoint</vt:lpstr>
      <vt:lpstr>Презентация PowerPoint</vt:lpstr>
      <vt:lpstr>Благодарю за внимание!</vt:lpstr>
    </vt:vector>
  </TitlesOfParts>
  <Company>Novarti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9 EGM IDAPS &lt;Disease&gt;</dc:title>
  <dc:creator>Roze, Isabelle</dc:creator>
  <cp:lastModifiedBy>Евгений Барышев</cp:lastModifiedBy>
  <cp:revision>510</cp:revision>
  <cp:lastPrinted>2018-06-18T08:13:20Z</cp:lastPrinted>
  <dcterms:created xsi:type="dcterms:W3CDTF">2018-03-05T10:28:50Z</dcterms:created>
  <dcterms:modified xsi:type="dcterms:W3CDTF">2025-07-09T17:59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4-12-20T20:33:52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da4cac40-85fe-4ea1-bf83-22dccdd3b1af</vt:lpwstr>
  </property>
  <property fmtid="{D5CDD505-2E9C-101B-9397-08002B2CF9AE}" pid="8" name="MSIP_Label_3c9bec58-8084-492e-8360-0e1cfe36408c_ContentBits">
    <vt:lpwstr>0</vt:lpwstr>
  </property>
</Properties>
</file>